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514" r:id="rId3"/>
    <p:sldId id="1960" r:id="rId4"/>
    <p:sldId id="1936" r:id="rId5"/>
    <p:sldId id="1938" r:id="rId6"/>
    <p:sldId id="1954" r:id="rId7"/>
    <p:sldId id="1942" r:id="rId8"/>
    <p:sldId id="1955" r:id="rId9"/>
    <p:sldId id="1943" r:id="rId10"/>
    <p:sldId id="1944" r:id="rId11"/>
    <p:sldId id="1948" r:id="rId12"/>
    <p:sldId id="1956" r:id="rId13"/>
    <p:sldId id="1961" r:id="rId14"/>
    <p:sldId id="1950" r:id="rId15"/>
    <p:sldId id="1962" r:id="rId16"/>
    <p:sldId id="1951" r:id="rId17"/>
    <p:sldId id="1963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BD64D1-83BE-CBB4-F3B0-0601FD7424AB}" name="Adelia Januarto" initials="AJ" userId="0c2561ee7d72797c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3EC3"/>
    <a:srgbClr val="213C8E"/>
    <a:srgbClr val="2FA3DA"/>
    <a:srgbClr val="0098A7"/>
    <a:srgbClr val="2F6E7A"/>
    <a:srgbClr val="F5F5F5"/>
    <a:srgbClr val="7FBFC9"/>
    <a:srgbClr val="070707"/>
    <a:srgbClr val="020202"/>
    <a:srgbClr val="0370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70"/>
    <p:restoredTop sz="95827"/>
  </p:normalViewPr>
  <p:slideViewPr>
    <p:cSldViewPr snapToGrid="0" snapToObjects="1">
      <p:cViewPr varScale="1">
        <p:scale>
          <a:sx n="107" d="100"/>
          <a:sy n="107" d="100"/>
        </p:scale>
        <p:origin x="704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3928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C718D7-DC7A-744E-940F-92211BC73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0F84A9-562D-F248-BBAF-8A1BBBCD3B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DBF45-B23F-EE4A-8BC2-A5A04FA3FC98}" type="datetimeFigureOut">
              <a:rPr lang="en-US" smtClean="0"/>
              <a:t>5/26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E03ACC-8486-344B-A329-CA64D0C740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F28E02-73BB-3D4D-AEDD-249BFBB08B2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757823-73C4-184D-B256-1476D04362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942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D5FC9A-FA52-6141-90EE-A603A290A5E6}" type="datetimeFigureOut">
              <a:rPr lang="en-US" smtClean="0"/>
              <a:t>5/2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04BEB9-6AD8-DB44-A829-6CBA5AD9D1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388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ctal Labs is a fictional company</a:t>
            </a:r>
          </a:p>
          <a:p>
            <a:r>
              <a:rPr lang="en-US" dirty="0"/>
              <a:t>Icon: https://</a:t>
            </a:r>
            <a:r>
              <a:rPr lang="en-US" dirty="0" err="1"/>
              <a:t>www.flaticon.com</a:t>
            </a:r>
            <a:r>
              <a:rPr lang="en-US" dirty="0"/>
              <a:t>/free-icon/deep-learning_8637101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020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2385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4288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878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0120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Sekarang</a:t>
            </a:r>
            <a:r>
              <a:rPr lang="en-US" dirty="0"/>
              <a:t> </a:t>
            </a:r>
            <a:r>
              <a:rPr lang="en-US" dirty="0" err="1"/>
              <a:t>setelah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memahami</a:t>
            </a:r>
            <a:r>
              <a:rPr lang="en-US" dirty="0"/>
              <a:t> </a:t>
            </a:r>
            <a:r>
              <a:rPr lang="en-US" dirty="0" err="1"/>
              <a:t>rumus</a:t>
            </a:r>
            <a:r>
              <a:rPr lang="en-US" dirty="0"/>
              <a:t> Naive Bayes, </a:t>
            </a:r>
            <a:r>
              <a:rPr lang="en-US" dirty="0" err="1"/>
              <a:t>mari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mempelajari</a:t>
            </a:r>
            <a:r>
              <a:rPr lang="en-US" dirty="0"/>
              <a:t> </a:t>
            </a:r>
            <a:r>
              <a:rPr lang="en-US" dirty="0" err="1"/>
              <a:t>aspek</a:t>
            </a:r>
            <a:r>
              <a:rPr lang="en-US" dirty="0"/>
              <a:t> </a:t>
            </a:r>
            <a:r>
              <a:rPr lang="en-US" dirty="0" err="1"/>
              <a:t>penting</a:t>
            </a:r>
            <a:r>
              <a:rPr lang="en-US" dirty="0"/>
              <a:t> </a:t>
            </a:r>
            <a:r>
              <a:rPr lang="en-US" dirty="0" err="1"/>
              <a:t>lainnya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interpretasi</a:t>
            </a:r>
            <a:r>
              <a:rPr lang="en-US" dirty="0"/>
              <a:t> model </a:t>
            </a:r>
            <a:r>
              <a:rPr lang="en-US" dirty="0" err="1"/>
              <a:t>kita</a:t>
            </a:r>
            <a:r>
              <a:rPr lang="en-US" dirty="0"/>
              <a:t>: </a:t>
            </a:r>
            <a:r>
              <a:rPr lang="en-US" dirty="0" err="1"/>
              <a:t>pentingnya</a:t>
            </a:r>
            <a:r>
              <a:rPr lang="en-US" dirty="0"/>
              <a:t> </a:t>
            </a:r>
            <a:r>
              <a:rPr lang="en-US" dirty="0" err="1"/>
              <a:t>permutasi</a:t>
            </a:r>
            <a:r>
              <a:rPr lang="en-US" dirty="0"/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memahami</a:t>
            </a:r>
            <a:r>
              <a:rPr lang="en-US" dirty="0"/>
              <a:t> </a:t>
            </a:r>
            <a:r>
              <a:rPr lang="en-US" dirty="0" err="1"/>
              <a:t>bagaimana</a:t>
            </a:r>
            <a:r>
              <a:rPr lang="en-US" dirty="0"/>
              <a:t> </a:t>
            </a:r>
            <a:r>
              <a:rPr lang="en-US" dirty="0" err="1"/>
              <a:t>pentingnya</a:t>
            </a:r>
            <a:r>
              <a:rPr lang="en-US" dirty="0"/>
              <a:t> </a:t>
            </a:r>
            <a:r>
              <a:rPr lang="en-US" dirty="0" err="1"/>
              <a:t>fitur</a:t>
            </a:r>
            <a:r>
              <a:rPr lang="en-US" dirty="0"/>
              <a:t> </a:t>
            </a:r>
            <a:r>
              <a:rPr lang="en-US" dirty="0" err="1"/>
              <a:t>ditentukan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</a:t>
            </a:r>
            <a:r>
              <a:rPr lang="en-US" dirty="0" err="1"/>
              <a:t>kepentingan</a:t>
            </a:r>
            <a:r>
              <a:rPr lang="en-US" dirty="0"/>
              <a:t> </a:t>
            </a:r>
            <a:r>
              <a:rPr lang="en-US" dirty="0" err="1"/>
              <a:t>permutasi</a:t>
            </a:r>
            <a:r>
              <a:rPr lang="en-US" dirty="0"/>
              <a:t>, </a:t>
            </a:r>
            <a:r>
              <a:rPr lang="en-US" dirty="0" err="1"/>
              <a:t>kita</a:t>
            </a:r>
            <a:r>
              <a:rPr lang="en-US" dirty="0"/>
              <a:t>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memperoleh</a:t>
            </a:r>
            <a:r>
              <a:rPr lang="en-US" dirty="0"/>
              <a:t> insight yang </a:t>
            </a:r>
            <a:r>
              <a:rPr lang="en-US" dirty="0" err="1"/>
              <a:t>lebih</a:t>
            </a:r>
            <a:r>
              <a:rPr lang="en-US" dirty="0"/>
              <a:t> </a:t>
            </a:r>
            <a:r>
              <a:rPr lang="en-US" dirty="0" err="1"/>
              <a:t>mendalam</a:t>
            </a:r>
            <a:r>
              <a:rPr lang="en-US" dirty="0"/>
              <a:t> </a:t>
            </a:r>
            <a:r>
              <a:rPr lang="en-US" dirty="0" err="1"/>
              <a:t>tentang</a:t>
            </a:r>
            <a:r>
              <a:rPr lang="en-US" dirty="0"/>
              <a:t> </a:t>
            </a:r>
            <a:r>
              <a:rPr lang="en-US" dirty="0" err="1"/>
              <a:t>fitur</a:t>
            </a:r>
            <a:r>
              <a:rPr lang="en-US" dirty="0"/>
              <a:t> mana yang paling </a:t>
            </a:r>
            <a:r>
              <a:rPr lang="en-US" dirty="0" err="1"/>
              <a:t>berpengaruh</a:t>
            </a:r>
            <a:r>
              <a:rPr lang="en-US" dirty="0"/>
              <a:t> </a:t>
            </a:r>
            <a:r>
              <a:rPr lang="en-US" dirty="0" err="1"/>
              <a:t>dalam</a:t>
            </a:r>
            <a:r>
              <a:rPr lang="en-US" dirty="0"/>
              <a:t> proses </a:t>
            </a:r>
            <a:r>
              <a:rPr lang="en-US" dirty="0" err="1"/>
              <a:t>pemodelan</a:t>
            </a:r>
            <a:r>
              <a:rPr lang="en-US" dirty="0"/>
              <a:t> </a:t>
            </a:r>
            <a:r>
              <a:rPr lang="en-US" dirty="0" err="1"/>
              <a:t>prediktif</a:t>
            </a:r>
            <a:r>
              <a:rPr lang="en-US" dirty="0"/>
              <a:t> </a:t>
            </a:r>
            <a:r>
              <a:rPr lang="en-US" dirty="0" err="1"/>
              <a:t>kita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9013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076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4250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359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303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423C4E-3A47-FD46-B640-791D199615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28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367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423C4E-3A47-FD46-B640-791D1996156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8579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5011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2958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1108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4BEB9-6AD8-DB44-A829-6CBA5AD9D1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256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DBF37-47C4-D945-A0D2-B7912D394A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580B0A-FBA4-804B-A3B9-6D405464E9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7F797E-3580-5449-B05E-BB7B48F69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BC1AC-9027-CD42-BA8C-D711F192EA8D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6CC794-37EE-024A-A9AD-EA6470548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B7C895-A438-824B-8CF6-C25FB2F3A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88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60C7E-F598-8D4E-B2B1-B1F3C926B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765BB7-03B8-4A40-914D-217B5C9974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82870D-3DE5-B249-B9B5-5E20028B8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939AB-50A0-9245-8A75-0EB09FFFC80D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991CB5-F2C9-F944-B068-F88492623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160A4-4637-DA49-9F22-C53AAB9AF7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214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FD598F-9E73-6D42-8CC9-690D8EFDB3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061358-AEA2-8A4A-A27F-6F08463675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6BEC60-A239-A145-8309-491315A54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32A59-8EA9-124D-9120-F2415F6551E7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87610A-CC11-6F4B-AD0D-74AB16B01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3C69DF-FAF3-EC4C-BCD3-B8C24AB7E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262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7B192-3DFF-8643-8203-34DB53466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E7270-1334-9D45-8C2E-F37745CB17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C07639-F798-3040-94CA-829592796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03375-62FC-7249-9E39-72AC6EE53E46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46D49E-C8CF-D043-9799-053573A07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34AA15-0832-0E4F-90A6-6550A2412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842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E0543-4B6C-4944-A4C8-FE92E49CC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BB9D0-D229-5744-9894-2B4CD7D7C1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6225-1232-FA45-BB99-5509A7FA8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00AE2-6A40-334F-B1F1-5BCED9F859F5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A60916-9507-6940-9B8E-1AC84C38C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9B4EB6-06BE-344C-8D26-BA1A39F91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50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59CF1-ADE3-B04B-A2A2-746A42295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890F77-034A-3C4C-91C2-0F4834CAA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B8956D-1C9D-B34F-9D51-6EF879BE9C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43D0DB-8334-474B-8630-161820B7A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0A3F90-84C7-154D-A916-E0AB59D45C39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677738-EA0F-8A4A-935D-9FF1B1711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00CF-A3E8-5A41-B817-3700838E0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892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2C726-453B-AB4B-AF9E-969A922AE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F63DBD-266D-014A-AD6E-97EDF19150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74E64F-9461-F94E-94F1-DE89FEF205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1759FE-3800-FC4D-811E-F806D814A4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45B472-B433-E942-8ED4-BAF1BE5BCF2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5DBEAB3-FFAB-524F-9E90-72B0F0CE1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3929F-3A4A-7349-8E57-31AFAB25CCB9}" type="datetime1">
              <a:rPr lang="en-ID" smtClean="0"/>
              <a:t>26/05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1C06B-AD46-514F-BF07-BE55D71FE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C32EA0-DC4E-3B44-A72B-212241862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584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4FEFE8-80FF-A84F-92F7-EA4DC1538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475EFE-F275-6D43-AD6F-8CD950BF0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9F96F-8344-A442-9C09-E9514BB9C1E3}" type="datetime1">
              <a:rPr lang="en-ID" smtClean="0"/>
              <a:t>26/0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79682-3217-6644-98B3-4E6FCECA6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C2851A-3920-D946-8660-2F06E52B2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7147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EA0A60-3690-0F4C-B064-CAA72D727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D16CE-E12C-8B47-99EA-AAA79B06CF72}" type="datetime1">
              <a:rPr lang="en-ID" smtClean="0"/>
              <a:t>26/0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26B42-4E79-FE4A-BAAE-C96B3415E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C9BCB-3A06-9744-9671-DB09E2884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41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FBD55-E1FE-D34E-BA94-28D9AD9A5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8BD6E4-BB22-964B-9AAE-F51C2100D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D394FD-B657-504E-836F-7C8065C3EB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CDDBF9-6D6A-B647-BEBC-770D439AE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7C161-8304-5846-AD51-21CB49911A81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C4A036-7821-0B42-AD5A-CE58C799A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1263D3-C6AF-D049-8F2B-0C3DEB0BF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479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DBFA8-FFAB-5F47-9FD9-D1E65EBCC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6575A9-C987-F249-A4BA-E558D89D2E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71949-B4D6-AD40-8A2E-C65DB4B9F8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5FA904-5375-DE42-961E-814F43A17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8FA3E-6B92-3848-A7FC-01673A33629E}" type="datetime1">
              <a:rPr lang="en-ID" smtClean="0"/>
              <a:t>26/0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A441D3-08A2-094B-9A04-063FBE5EB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677F17-69AC-0547-A8FE-121868DBC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188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A102BE-E20E-2342-9F7B-7356CF07B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868869-6BDE-E544-8524-09E0FE88DB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E9D182-C518-BA4B-BC09-41E103F9F6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0D6D92-345B-3E4A-8B30-19FCA361F2CC}" type="datetime1">
              <a:rPr lang="en-ID" smtClean="0"/>
              <a:t>26/0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8519AA-34EA-7848-8A46-589953F4EF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E7D11-D0F2-264F-8720-51084513A5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584C5F-AC8F-AB45-98CD-0DC496F392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643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DC288-B009-AE41-82AB-57408B5F11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3500" y="939114"/>
            <a:ext cx="7464511" cy="2226659"/>
          </a:xfrm>
        </p:spPr>
        <p:txBody>
          <a:bodyPr>
            <a:noAutofit/>
          </a:bodyPr>
          <a:lstStyle/>
          <a:p>
            <a:pPr algn="l"/>
            <a:r>
              <a:rPr lang="en-US" sz="3600" dirty="0"/>
              <a:t>Predicting Hotel Booking Cancellations to Minimize Revenue Loss due to False Negatives</a:t>
            </a:r>
            <a:r>
              <a:rPr lang="en-US" sz="3600" baseline="30000" dirty="0"/>
              <a:t>1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EBECCB-7CAC-6C45-8E5E-9CBFE60A96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3500" y="3692228"/>
            <a:ext cx="2235200" cy="660400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800" dirty="0"/>
              <a:t>Adelia Januart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C99B0F8-CE30-0C4A-B7DA-D1FB88B98F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33500" y="6077246"/>
            <a:ext cx="1092200" cy="365125"/>
          </a:xfrm>
        </p:spPr>
        <p:txBody>
          <a:bodyPr/>
          <a:lstStyle/>
          <a:p>
            <a:fld id="{01C28452-8962-7D47-839A-BAF00F7A86D2}" type="datetime5">
              <a:rPr lang="en-ID" smtClean="0"/>
              <a:t>26-May-24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4E4B62-7DE8-FC42-B428-21F659B55A82}"/>
              </a:ext>
            </a:extLst>
          </p:cNvPr>
          <p:cNvSpPr txBox="1"/>
          <p:nvPr/>
        </p:nvSpPr>
        <p:spPr>
          <a:xfrm>
            <a:off x="8928102" y="5936642"/>
            <a:ext cx="26503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aseline="3000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model predicts that the booking will not be canceled, but in reality, the booking is canceled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19875BD-FD2F-BC4E-A153-DCA651030747}"/>
              </a:ext>
            </a:extLst>
          </p:cNvPr>
          <p:cNvSpPr txBox="1">
            <a:spLocks/>
          </p:cNvSpPr>
          <p:nvPr/>
        </p:nvSpPr>
        <p:spPr>
          <a:xfrm>
            <a:off x="1333499" y="3987503"/>
            <a:ext cx="2674829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Analys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445D67-A80B-0F45-8139-C4CE2621FB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8011" y="2486838"/>
            <a:ext cx="2410779" cy="24107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3780A6B-BE49-8141-A54D-FEE8870F501C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9978E9-CD36-9748-A72A-F39A8EC1CF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8194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Learning curve plo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data can be beneficial for NB to perform consistentl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raining score (blue line) starts high and slightly decreases, indicating the model initially fits the training data well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esting score begins low and increases, showing the model gets better at predicting new data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ines converge around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75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, although the model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n't not show any signs of underfitting or overfitting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10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907C41-3E29-B04D-8E0A-FAEBF88859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283" y="2004820"/>
            <a:ext cx="5864618" cy="4263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862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erformance across training vs test se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model performs better in the test set than in training on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aussian Naive Bayes Classifier achieves an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282 on the training set and 0.7525 on the test set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better performance on the test set means that model performs better on this dataset, and hence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ood indication of generalization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11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3F7D922-97DC-944A-BFA7-AAEA78598FC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8975"/>
          <a:stretch/>
        </p:blipFill>
        <p:spPr>
          <a:xfrm>
            <a:off x="460302" y="2417089"/>
            <a:ext cx="7022780" cy="7409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179ACE6-33A4-8641-8C5C-401D8C558B1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8975"/>
          <a:stretch/>
        </p:blipFill>
        <p:spPr>
          <a:xfrm>
            <a:off x="444063" y="3721425"/>
            <a:ext cx="7022780" cy="740971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3473FF4-AFC7-664E-9DE1-CF6ECD320BD6}"/>
              </a:ext>
            </a:extLst>
          </p:cNvPr>
          <p:cNvSpPr/>
          <p:nvPr/>
        </p:nvSpPr>
        <p:spPr>
          <a:xfrm>
            <a:off x="454584" y="2151967"/>
            <a:ext cx="6926609" cy="34498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performance on training se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887463B-0A06-0242-B347-B8093E6534B9}"/>
              </a:ext>
            </a:extLst>
          </p:cNvPr>
          <p:cNvSpPr/>
          <p:nvPr/>
        </p:nvSpPr>
        <p:spPr>
          <a:xfrm>
            <a:off x="454584" y="3441189"/>
            <a:ext cx="6926609" cy="34498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performance on test se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8F91E9-4BEB-5740-92C3-C0EE1944E699}"/>
              </a:ext>
            </a:extLst>
          </p:cNvPr>
          <p:cNvSpPr/>
          <p:nvPr/>
        </p:nvSpPr>
        <p:spPr>
          <a:xfrm>
            <a:off x="6668325" y="2536435"/>
            <a:ext cx="616069" cy="51375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9AC5420-B947-F741-8159-751A843206DC}"/>
              </a:ext>
            </a:extLst>
          </p:cNvPr>
          <p:cNvSpPr/>
          <p:nvPr/>
        </p:nvSpPr>
        <p:spPr>
          <a:xfrm>
            <a:off x="6691711" y="3834229"/>
            <a:ext cx="616069" cy="51375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671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310863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310228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10197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10133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resul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289308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289244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2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363581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4</a:t>
            </a:r>
            <a:endParaRPr lang="en-US" sz="48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3635177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3ECBED-2C39-3E4B-912D-CA0387CF0CB0}"/>
              </a:ext>
            </a:extLst>
          </p:cNvPr>
          <p:cNvSpPr/>
          <p:nvPr/>
        </p:nvSpPr>
        <p:spPr>
          <a:xfrm>
            <a:off x="1051420" y="442692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9BF8B1-9F14-064B-B33D-A60ED9683D27}"/>
              </a:ext>
            </a:extLst>
          </p:cNvPr>
          <p:cNvSpPr/>
          <p:nvPr/>
        </p:nvSpPr>
        <p:spPr>
          <a:xfrm>
            <a:off x="1672485" y="442628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93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070" y="553118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How the model (Naïve Bayes model) work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3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724946" y="1786109"/>
            <a:ext cx="5200839" cy="45409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ive Bayes Classifier works by applying Bayes' Theorem with the assumption that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 are independen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aïve) and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 Gaussian distribution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calculates the probability of each class given the input features and predicts the class with the highest probability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method is simple and fast for many types of classification tasks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67669" y="1860926"/>
            <a:ext cx="5273421" cy="19866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Canceled | Features): probability of a booking being canceled given observed features (e.g., customer type)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Features | Canceled): probability of observing features given the booking was canceled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Canceled): prior probability of a booking being canceled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(Features): probability of observing the featur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ADF8845-2F1C-F74B-8A9E-9F930C4E40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595" t="12500" r="15911" b="18452"/>
          <a:stretch/>
        </p:blipFill>
        <p:spPr>
          <a:xfrm>
            <a:off x="1067860" y="3429000"/>
            <a:ext cx="4722565" cy="115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07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ermutation importan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B58BF9-5934-F146-ADB9-B24D81F7175D}"/>
              </a:ext>
            </a:extLst>
          </p:cNvPr>
          <p:cNvSpPr/>
          <p:nvPr/>
        </p:nvSpPr>
        <p:spPr>
          <a:xfrm>
            <a:off x="455892" y="1513840"/>
            <a:ext cx="8190398" cy="46736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parking spaces has the highest importance in NB predic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utation importance checks the relative importance of each feature in making predictions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works by shuffling feature values and observing changes in model performan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`</a:t>
            </a:r>
            <a:r>
              <a:rPr lang="en-US" sz="1400" b="1" dirty="0" err="1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d_car_parking_spaces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` has the highest importanc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uggesting that the number of parking spaces required by a guest is the strongest predictor of cancellation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1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9C9BDCB-8BF4-8A4D-9B13-1319B6ABC5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630" y="2052281"/>
            <a:ext cx="6551923" cy="398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834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310863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310228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10197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10133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resul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289308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289244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5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363581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363517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3ECBED-2C39-3E4B-912D-CA0387CF0CB0}"/>
              </a:ext>
            </a:extLst>
          </p:cNvPr>
          <p:cNvSpPr/>
          <p:nvPr/>
        </p:nvSpPr>
        <p:spPr>
          <a:xfrm>
            <a:off x="1051420" y="442692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9BF8B1-9F14-064B-B33D-A60ED9683D27}"/>
              </a:ext>
            </a:extLst>
          </p:cNvPr>
          <p:cNvSpPr/>
          <p:nvPr/>
        </p:nvSpPr>
        <p:spPr>
          <a:xfrm>
            <a:off x="1672485" y="4426286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583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52" y="530977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Implication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6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Mode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677252" y="4597973"/>
            <a:ext cx="5248534" cy="166002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 (Type I error): actual 0,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0 x $67.5 = $17,55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N (Type II error): actual 1,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x $99 = $2,97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$20,520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52522" y="1798811"/>
            <a:ext cx="5273421" cy="347411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e 60% incorrect predictions with FP of 20% and FN 40%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: 0.2 x 1020 bookings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4 bookings x $67.5 = $13,770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N: 0.4 x 1020 bookings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8 bookings x $99 = $40,394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$54,162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80AA4C4-3AD4-4B4E-8369-AD4BFCC4E2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96"/>
          <a:stretch/>
        </p:blipFill>
        <p:spPr>
          <a:xfrm>
            <a:off x="1995328" y="1855961"/>
            <a:ext cx="3063560" cy="275388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55B9B4-E5E4-2840-BCB5-14752252E453}"/>
              </a:ext>
            </a:extLst>
          </p:cNvPr>
          <p:cNvSpPr txBox="1"/>
          <p:nvPr/>
        </p:nvSpPr>
        <p:spPr>
          <a:xfrm>
            <a:off x="3776353" y="2134736"/>
            <a:ext cx="4090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BD6097-EA55-E04A-84BD-66D51FF24DB3}"/>
              </a:ext>
            </a:extLst>
          </p:cNvPr>
          <p:cNvSpPr txBox="1"/>
          <p:nvPr/>
        </p:nvSpPr>
        <p:spPr>
          <a:xfrm>
            <a:off x="2628387" y="2133112"/>
            <a:ext cx="4459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T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915458-E723-B84A-8F1C-1E9BC08FBEF7}"/>
              </a:ext>
            </a:extLst>
          </p:cNvPr>
          <p:cNvSpPr txBox="1"/>
          <p:nvPr/>
        </p:nvSpPr>
        <p:spPr>
          <a:xfrm>
            <a:off x="3776353" y="3858591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T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46B281-3B13-F94E-B356-170909460771}"/>
              </a:ext>
            </a:extLst>
          </p:cNvPr>
          <p:cNvSpPr txBox="1"/>
          <p:nvPr/>
        </p:nvSpPr>
        <p:spPr>
          <a:xfrm>
            <a:off x="2628387" y="3856967"/>
            <a:ext cx="4395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F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A7F66D-C2FE-CC47-8A9D-EC930E3CC5AC}"/>
              </a:ext>
            </a:extLst>
          </p:cNvPr>
          <p:cNvSpPr/>
          <p:nvPr/>
        </p:nvSpPr>
        <p:spPr>
          <a:xfrm>
            <a:off x="6352522" y="5221944"/>
            <a:ext cx="5273421" cy="691584"/>
          </a:xfrm>
          <a:prstGeom prst="rect">
            <a:avLst/>
          </a:prstGeom>
          <a:solidFill>
            <a:schemeClr val="bg1"/>
          </a:solidFill>
          <a:ln w="19050">
            <a:solidFill>
              <a:srgbClr val="1C3E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20000"/>
              </a:lnSpc>
            </a:pP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algn="ctr">
              <a:lnSpc>
                <a:spcPct val="120000"/>
              </a:lnSpc>
            </a:pPr>
            <a:r>
              <a:rPr lang="en-US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54,162 - $20,520 = $33,642 saved by the model</a:t>
            </a:r>
          </a:p>
        </p:txBody>
      </p:sp>
    </p:spTree>
    <p:extLst>
      <p:ext uri="{BB962C8B-B14F-4D97-AF65-F5344CB8AC3E}">
        <p14:creationId xmlns:p14="http://schemas.microsoft.com/office/powerpoint/2010/main" val="4191406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252" y="530977"/>
            <a:ext cx="10454711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5408FB-7BC9-F349-83A4-1528B4E1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17</a:t>
            </a:fld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C1C867-1B88-264C-9961-ACDB5BDDB84F}"/>
              </a:ext>
            </a:extLst>
          </p:cNvPr>
          <p:cNvSpPr/>
          <p:nvPr/>
        </p:nvSpPr>
        <p:spPr>
          <a:xfrm>
            <a:off x="677253" y="1343200"/>
            <a:ext cx="5248534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1BFAEEA-B997-8644-8639-221A6D76B449}"/>
              </a:ext>
            </a:extLst>
          </p:cNvPr>
          <p:cNvSpPr/>
          <p:nvPr/>
        </p:nvSpPr>
        <p:spPr>
          <a:xfrm>
            <a:off x="677252" y="1330499"/>
            <a:ext cx="5248534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75D566-1336-F845-BF33-B861314E057C}"/>
              </a:ext>
            </a:extLst>
          </p:cNvPr>
          <p:cNvSpPr/>
          <p:nvPr/>
        </p:nvSpPr>
        <p:spPr>
          <a:xfrm>
            <a:off x="724947" y="1786109"/>
            <a:ext cx="4883722" cy="45409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project aims to develop a machine learning classification model to predict hotel booking cancellations with a main focus of minimizing False Negative (Type II Error)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eries of machine learning experiments on the hotel's historical data have been carried out to find the best model in achieving such goal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ng these experiments, Naïve Bayes algorithm performs the best to predict hotel cancellations with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2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odel can help catch some cancellations that might have been missed before.</a:t>
            </a:r>
          </a:p>
          <a:p>
            <a:pPr marL="742950" lvl="1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knowing which bookings are more likely to cancel, the hotel can avoid wasting staff, supplies or preparing rooms that might not be needed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6F1B12-DAD8-584C-8688-131CEDC5B286}"/>
              </a:ext>
            </a:extLst>
          </p:cNvPr>
          <p:cNvSpPr/>
          <p:nvPr/>
        </p:nvSpPr>
        <p:spPr>
          <a:xfrm>
            <a:off x="6266215" y="1355901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CE2A286-00B0-2545-A702-DF52F756FAFC}"/>
              </a:ext>
            </a:extLst>
          </p:cNvPr>
          <p:cNvSpPr/>
          <p:nvPr/>
        </p:nvSpPr>
        <p:spPr>
          <a:xfrm>
            <a:off x="6266214" y="1343200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0C4C1F-3557-0346-B8F2-C85D7532C63A}"/>
              </a:ext>
            </a:extLst>
          </p:cNvPr>
          <p:cNvSpPr/>
          <p:nvPr/>
        </p:nvSpPr>
        <p:spPr>
          <a:xfrm>
            <a:off x="6352522" y="1798811"/>
            <a:ext cx="5273421" cy="286819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2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el managers</a:t>
            </a:r>
            <a:endParaRPr lang="en-US" sz="1400" dirty="0">
              <a:solidFill>
                <a:srgbClr val="1C3EC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model predictions to proactively manage bookings (e.g., reminding guests about their stays or offering deals to keep them from cancelling) and optimize resource allocation based on cancellations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 metrics to see if the model improves hotel operations (consider A/B testing).</a:t>
            </a:r>
          </a:p>
          <a:p>
            <a:pPr>
              <a:lnSpc>
                <a:spcPct val="120000"/>
              </a:lnSpc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US" sz="1400" b="1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directions</a:t>
            </a:r>
            <a:endParaRPr lang="en-US" sz="1400" dirty="0">
              <a:solidFill>
                <a:srgbClr val="1C3EC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data quality by double-checking the sour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with different model configurations to potentially achieve a better performing mode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96E803-8133-0B48-B6E8-CBEA3B695C1B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9B0465-106B-444B-B6AF-960291A18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587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718" y="465546"/>
            <a:ext cx="11144812" cy="560997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xecutive Summary</a:t>
            </a:r>
          </a:p>
        </p:txBody>
      </p:sp>
      <p:grpSp>
        <p:nvGrpSpPr>
          <p:cNvPr id="8" name="ACET">
            <a:extLst>
              <a:ext uri="{FF2B5EF4-FFF2-40B4-BE49-F238E27FC236}">
                <a16:creationId xmlns:a16="http://schemas.microsoft.com/office/drawing/2014/main" id="{CB41013A-477B-0C86-ED53-FC2822BBE7BE}"/>
              </a:ext>
            </a:extLst>
          </p:cNvPr>
          <p:cNvGrpSpPr>
            <a:grpSpLocks/>
          </p:cNvGrpSpPr>
          <p:nvPr/>
        </p:nvGrpSpPr>
        <p:grpSpPr bwMode="auto">
          <a:xfrm>
            <a:off x="616002" y="1166635"/>
            <a:ext cx="2453259" cy="249238"/>
            <a:chOff x="935" y="828"/>
            <a:chExt cx="2686" cy="157"/>
          </a:xfrm>
        </p:grpSpPr>
        <p:cxnSp>
          <p:nvCxnSpPr>
            <p:cNvPr id="10" name="AutoShape 249">
              <a:extLst>
                <a:ext uri="{FF2B5EF4-FFF2-40B4-BE49-F238E27FC236}">
                  <a16:creationId xmlns:a16="http://schemas.microsoft.com/office/drawing/2014/main" id="{8D3EAB46-1ADA-093E-0D68-5C7294DE993D}"/>
                </a:ext>
              </a:extLst>
            </p:cNvPr>
            <p:cNvCxnSpPr>
              <a:cxnSpLocks noChangeShapeType="1"/>
              <a:stCxn id="11" idx="4"/>
              <a:endCxn id="11" idx="6"/>
            </p:cNvCxnSpPr>
            <p:nvPr/>
          </p:nvCxnSpPr>
          <p:spPr bwMode="auto">
            <a:xfrm>
              <a:off x="935" y="985"/>
              <a:ext cx="2686" cy="0"/>
            </a:xfrm>
            <a:prstGeom prst="straightConnector1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>
              <a:extLst>
                <a:ext uri="{FF2B5EF4-FFF2-40B4-BE49-F238E27FC236}">
                  <a16:creationId xmlns:a16="http://schemas.microsoft.com/office/drawing/2014/main" id="{9433ADD3-5D98-E79A-508C-D45DB4DC3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" y="828"/>
              <a:ext cx="2686" cy="1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00" b="1" baseline="0" noProof="0" dirty="0">
                  <a:latin typeface="Arial" panose="020B0604020202020204" pitchFamily="34" charset="0"/>
                  <a:cs typeface="Arial" panose="020B0604020202020204" pitchFamily="34" charset="0"/>
                </a:rPr>
                <a:t>Key Point</a:t>
              </a:r>
            </a:p>
          </p:txBody>
        </p:sp>
      </p:grpSp>
      <p:cxnSp>
        <p:nvCxnSpPr>
          <p:cNvPr id="12" name="AutoShape 249">
            <a:extLst>
              <a:ext uri="{FF2B5EF4-FFF2-40B4-BE49-F238E27FC236}">
                <a16:creationId xmlns:a16="http://schemas.microsoft.com/office/drawing/2014/main" id="{E6489DA0-829D-2698-8047-C730DE44D284}"/>
              </a:ext>
            </a:extLst>
          </p:cNvPr>
          <p:cNvCxnSpPr>
            <a:cxnSpLocks noChangeShapeType="1"/>
            <a:stCxn id="11" idx="4"/>
          </p:cNvCxnSpPr>
          <p:nvPr/>
        </p:nvCxnSpPr>
        <p:spPr bwMode="auto">
          <a:xfrm flipV="1">
            <a:off x="615847" y="1416413"/>
            <a:ext cx="11144813" cy="1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AutoShape 250">
            <a:extLst>
              <a:ext uri="{FF2B5EF4-FFF2-40B4-BE49-F238E27FC236}">
                <a16:creationId xmlns:a16="http://schemas.microsoft.com/office/drawing/2014/main" id="{B8AD928F-6C66-B23A-2215-A807A9BEC3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7074" y="1171763"/>
            <a:ext cx="8565473" cy="2492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endParaRPr lang="en-US" sz="1500" baseline="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887B43-035E-568B-5815-BBC1EE6C1DFB}"/>
              </a:ext>
            </a:extLst>
          </p:cNvPr>
          <p:cNvSpPr txBox="1"/>
          <p:nvPr/>
        </p:nvSpPr>
        <p:spPr>
          <a:xfrm>
            <a:off x="3221024" y="1486884"/>
            <a:ext cx="8521523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Booking cancellations significantly challenge the hospitality industry by causing revenue loss and reducing operational efficiency, and manual risk assessments, though useful, are labor-intensive and often unreliabl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397626-AF69-73D7-FA39-E967C974B4A8}"/>
              </a:ext>
            </a:extLst>
          </p:cNvPr>
          <p:cNvSpPr txBox="1"/>
          <p:nvPr/>
        </p:nvSpPr>
        <p:spPr>
          <a:xfrm>
            <a:off x="3221024" y="3414919"/>
            <a:ext cx="856547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Naïve Bayes algorithm can be used for flagging high risk bookings (bookings which more likely to be canceled) with </a:t>
            </a:r>
            <a:r>
              <a:rPr lang="en-US" sz="1500" i="1" dirty="0">
                <a:solidFill>
                  <a:schemeClr val="tx1"/>
                </a:solidFill>
              </a:rPr>
              <a:t>F2 </a:t>
            </a:r>
            <a:r>
              <a:rPr lang="en-US" sz="1500" dirty="0">
                <a:solidFill>
                  <a:schemeClr val="tx1"/>
                </a:solidFill>
              </a:rPr>
              <a:t>= 0.72.</a:t>
            </a:r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E4F087DF-2090-7B6E-090A-A5CF4C6901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735" y="3450754"/>
            <a:ext cx="2453259" cy="69445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defTabSz="89535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lang="en-US" sz="1500" b="1" kern="0" dirty="0">
                <a:latin typeface="Arial"/>
                <a:ea typeface="ＭＳ Ｐゴシック"/>
              </a:rPr>
              <a:t>          Findings</a:t>
            </a:r>
            <a:endParaRPr kumimoji="0" lang="en-US" sz="15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ＭＳ Ｐゴシック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8FB915C-82E2-DEE6-205F-4BF552055D3B}"/>
              </a:ext>
            </a:extLst>
          </p:cNvPr>
          <p:cNvSpPr txBox="1"/>
          <p:nvPr/>
        </p:nvSpPr>
        <p:spPr>
          <a:xfrm>
            <a:off x="3221024" y="4382064"/>
            <a:ext cx="852152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Hotel managers can leverage model predictions to proactively manage bookings and staff allocation, while tracking metrics to measure the model's impact.</a:t>
            </a:r>
          </a:p>
        </p:txBody>
      </p:sp>
      <p:sp>
        <p:nvSpPr>
          <p:cNvPr id="19" name="Rectangle 7">
            <a:extLst>
              <a:ext uri="{FF2B5EF4-FFF2-40B4-BE49-F238E27FC236}">
                <a16:creationId xmlns:a16="http://schemas.microsoft.com/office/drawing/2014/main" id="{E5A42DD4-89A7-8344-900A-2AF7B934C5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735" y="4337095"/>
            <a:ext cx="2453259" cy="6956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72009" tIns="72009" rIns="72009" bIns="72009" anchor="ctr" anchorCtr="0">
            <a:noAutofit/>
          </a:bodyPr>
          <a:lstStyle/>
          <a:p>
            <a:pPr marL="0" marR="0" lvl="0" indent="0" defTabSz="89535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ＭＳ Ｐゴシック"/>
              </a:rPr>
              <a:t>          Recommendatio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25F744-6828-B4BF-B5D1-D32AB3EAD4D2}"/>
              </a:ext>
            </a:extLst>
          </p:cNvPr>
          <p:cNvSpPr txBox="1"/>
          <p:nvPr/>
        </p:nvSpPr>
        <p:spPr>
          <a:xfrm>
            <a:off x="3221024" y="2608140"/>
            <a:ext cx="852152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1"/>
                </a:solidFill>
              </a:rPr>
              <a:t>Build a classification model to predict hotel booking cancellations so that the hotel can reduce revenue loss.</a:t>
            </a:r>
          </a:p>
        </p:txBody>
      </p:sp>
      <p:cxnSp>
        <p:nvCxnSpPr>
          <p:cNvPr id="25" name="AutoShape 249">
            <a:extLst>
              <a:ext uri="{FF2B5EF4-FFF2-40B4-BE49-F238E27FC236}">
                <a16:creationId xmlns:a16="http://schemas.microsoft.com/office/drawing/2014/main" id="{6F89F6F3-B9B2-CB15-3F30-DECA9032B4C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85036" y="2523752"/>
            <a:ext cx="1115751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AutoShape 249">
            <a:extLst>
              <a:ext uri="{FF2B5EF4-FFF2-40B4-BE49-F238E27FC236}">
                <a16:creationId xmlns:a16="http://schemas.microsoft.com/office/drawing/2014/main" id="{489CA914-5828-3D5B-592C-EC5C8FA9E13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85035" y="3317353"/>
            <a:ext cx="1115751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AutoShape 249">
            <a:extLst>
              <a:ext uri="{FF2B5EF4-FFF2-40B4-BE49-F238E27FC236}">
                <a16:creationId xmlns:a16="http://schemas.microsoft.com/office/drawing/2014/main" id="{F510820D-B715-ACCA-9001-8D083230997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85035" y="4252706"/>
            <a:ext cx="1115751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AutoShape 249">
            <a:extLst>
              <a:ext uri="{FF2B5EF4-FFF2-40B4-BE49-F238E27FC236}">
                <a16:creationId xmlns:a16="http://schemas.microsoft.com/office/drawing/2014/main" id="{FA2AD68B-672C-3871-A4D9-C877825FF33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85035" y="5178815"/>
            <a:ext cx="1115751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70529EC9-9774-9B4C-84F0-89D15F46D965}"/>
              </a:ext>
            </a:extLst>
          </p:cNvPr>
          <p:cNvGrpSpPr/>
          <p:nvPr/>
        </p:nvGrpSpPr>
        <p:grpSpPr>
          <a:xfrm>
            <a:off x="597735" y="1531855"/>
            <a:ext cx="2453259" cy="892468"/>
            <a:chOff x="597735" y="1543730"/>
            <a:chExt cx="2453259" cy="892468"/>
          </a:xfrm>
          <a:solidFill>
            <a:schemeClr val="bg1">
              <a:lumMod val="95000"/>
            </a:schemeClr>
          </a:solidFill>
        </p:grpSpPr>
        <p:sp>
          <p:nvSpPr>
            <p:cNvPr id="15" name="Rectangle 7">
              <a:extLst>
                <a:ext uri="{FF2B5EF4-FFF2-40B4-BE49-F238E27FC236}">
                  <a16:creationId xmlns:a16="http://schemas.microsoft.com/office/drawing/2014/main" id="{92F52D39-A4B8-FDDC-BAA5-4914212C60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7735" y="1543730"/>
              <a:ext cx="2453259" cy="89246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0" marR="0" lvl="0" indent="0" defTabSz="89535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500" b="1" kern="0" dirty="0">
                  <a:latin typeface="Arial"/>
                  <a:ea typeface="ＭＳ Ｐゴシック"/>
                </a:rPr>
                <a:t>          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ＭＳ Ｐゴシック"/>
                </a:rPr>
                <a:t>Problem</a:t>
              </a: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5CAF663-52FA-6340-8EDA-BEB5B0F70C5D}"/>
                </a:ext>
              </a:extLst>
            </p:cNvPr>
            <p:cNvSpPr/>
            <p:nvPr/>
          </p:nvSpPr>
          <p:spPr>
            <a:xfrm>
              <a:off x="767767" y="1818865"/>
              <a:ext cx="308919" cy="296562"/>
            </a:xfrm>
            <a:prstGeom prst="ellipse">
              <a:avLst/>
            </a:prstGeom>
            <a:solidFill>
              <a:srgbClr val="213C8E"/>
            </a:solidFill>
            <a:ln>
              <a:solidFill>
                <a:srgbClr val="213C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7EB9E95-B4F9-6F44-BFD2-3CF7C1768293}"/>
              </a:ext>
            </a:extLst>
          </p:cNvPr>
          <p:cNvGrpSpPr/>
          <p:nvPr/>
        </p:nvGrpSpPr>
        <p:grpSpPr>
          <a:xfrm>
            <a:off x="597735" y="2608141"/>
            <a:ext cx="2453259" cy="593471"/>
            <a:chOff x="597735" y="2621961"/>
            <a:chExt cx="2453259" cy="593471"/>
          </a:xfrm>
          <a:solidFill>
            <a:schemeClr val="bg1">
              <a:lumMod val="95000"/>
            </a:schemeClr>
          </a:solidFill>
        </p:grpSpPr>
        <p:sp>
          <p:nvSpPr>
            <p:cNvPr id="24" name="Rectangle 7">
              <a:extLst>
                <a:ext uri="{FF2B5EF4-FFF2-40B4-BE49-F238E27FC236}">
                  <a16:creationId xmlns:a16="http://schemas.microsoft.com/office/drawing/2014/main" id="{6E818B5C-695D-0478-BCAF-CB2D5A2DF54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7735" y="2621961"/>
              <a:ext cx="2453259" cy="59347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lvl="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en-US" sz="1500" b="1" kern="0" dirty="0">
                  <a:latin typeface="Arial"/>
                  <a:ea typeface="ＭＳ Ｐゴシック"/>
                </a:rPr>
                <a:t>          Goal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D1D4D084-20CB-3642-8B0C-3EDA239E5956}"/>
                </a:ext>
              </a:extLst>
            </p:cNvPr>
            <p:cNvSpPr/>
            <p:nvPr/>
          </p:nvSpPr>
          <p:spPr>
            <a:xfrm>
              <a:off x="767766" y="2773763"/>
              <a:ext cx="308919" cy="296562"/>
            </a:xfrm>
            <a:prstGeom prst="ellipse">
              <a:avLst/>
            </a:prstGeom>
            <a:solidFill>
              <a:srgbClr val="213C8E"/>
            </a:solidFill>
            <a:ln>
              <a:solidFill>
                <a:srgbClr val="213C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326B6410-0FD9-204E-80BC-DB091C980DCA}"/>
              </a:ext>
            </a:extLst>
          </p:cNvPr>
          <p:cNvSpPr/>
          <p:nvPr/>
        </p:nvSpPr>
        <p:spPr>
          <a:xfrm>
            <a:off x="767765" y="3666290"/>
            <a:ext cx="308919" cy="296562"/>
          </a:xfrm>
          <a:prstGeom prst="ellipse">
            <a:avLst/>
          </a:prstGeom>
          <a:solidFill>
            <a:srgbClr val="213C8E"/>
          </a:solidFill>
          <a:ln>
            <a:solidFill>
              <a:srgbClr val="213C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622C344-BD37-054F-AC36-159D8637A5E2}"/>
              </a:ext>
            </a:extLst>
          </p:cNvPr>
          <p:cNvSpPr/>
          <p:nvPr/>
        </p:nvSpPr>
        <p:spPr>
          <a:xfrm>
            <a:off x="767764" y="4553437"/>
            <a:ext cx="308919" cy="296562"/>
          </a:xfrm>
          <a:prstGeom prst="ellipse">
            <a:avLst/>
          </a:prstGeom>
          <a:solidFill>
            <a:srgbClr val="213C8E"/>
          </a:solidFill>
          <a:ln>
            <a:solidFill>
              <a:srgbClr val="213C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90AE43-A2AF-6D47-AFB6-F0ADEF821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>
                <a:solidFill>
                  <a:schemeClr val="tx2"/>
                </a:solidFill>
              </a:rPr>
              <a:t>2</a:t>
            </a:fld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EE35D49-A8D9-F84B-BC8C-40F2D159A201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8B30D91-1D0A-244B-8583-975F32EF54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761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2082C44-6B1E-AE4C-B11F-FDE7773B6DF6}"/>
              </a:ext>
            </a:extLst>
          </p:cNvPr>
          <p:cNvSpPr/>
          <p:nvPr/>
        </p:nvSpPr>
        <p:spPr>
          <a:xfrm>
            <a:off x="6240218" y="1265134"/>
            <a:ext cx="5476332" cy="5013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BAC5FE-4BE9-F046-A4B9-6C11D63EE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BAC5FE-4BE9-F046-A4B9-6C11D63EE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entagon 31">
            <a:extLst>
              <a:ext uri="{FF2B5EF4-FFF2-40B4-BE49-F238E27FC236}">
                <a16:creationId xmlns:a16="http://schemas.microsoft.com/office/drawing/2014/main" id="{DEE73C66-42F3-82E4-3BA2-37D9128BDC71}"/>
              </a:ext>
            </a:extLst>
          </p:cNvPr>
          <p:cNvSpPr/>
          <p:nvPr/>
        </p:nvSpPr>
        <p:spPr>
          <a:xfrm>
            <a:off x="458786" y="1252433"/>
            <a:ext cx="5965163" cy="5013150"/>
          </a:xfrm>
          <a:prstGeom prst="homePlate">
            <a:avLst>
              <a:gd name="adj" fmla="val 13411"/>
            </a:avLst>
          </a:prstGeom>
          <a:solidFill>
            <a:schemeClr val="bg1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03998" bIns="108000" rtlCol="0" anchor="t"/>
          <a:lstStyle/>
          <a:p>
            <a:pPr>
              <a:lnSpc>
                <a:spcPct val="120000"/>
              </a:lnSpc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5A220A43-74B8-BDB3-00DB-6A12085D8EAD}"/>
              </a:ext>
            </a:extLst>
          </p:cNvPr>
          <p:cNvSpPr/>
          <p:nvPr/>
        </p:nvSpPr>
        <p:spPr>
          <a:xfrm>
            <a:off x="459068" y="1240558"/>
            <a:ext cx="5403016" cy="401289"/>
          </a:xfrm>
          <a:custGeom>
            <a:avLst/>
            <a:gdLst>
              <a:gd name="connsiteX0" fmla="*/ 0 w 5440388"/>
              <a:gd name="connsiteY0" fmla="*/ 0 h 401289"/>
              <a:gd name="connsiteX1" fmla="*/ 5332754 w 5440388"/>
              <a:gd name="connsiteY1" fmla="*/ 0 h 401289"/>
              <a:gd name="connsiteX2" fmla="*/ 5440388 w 5440388"/>
              <a:gd name="connsiteY2" fmla="*/ 401289 h 401289"/>
              <a:gd name="connsiteX3" fmla="*/ 0 w 5440388"/>
              <a:gd name="connsiteY3" fmla="*/ 401289 h 40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0388" h="401289">
                <a:moveTo>
                  <a:pt x="0" y="0"/>
                </a:moveTo>
                <a:lnTo>
                  <a:pt x="5332754" y="0"/>
                </a:lnTo>
                <a:lnTo>
                  <a:pt x="5440388" y="401289"/>
                </a:lnTo>
                <a:lnTo>
                  <a:pt x="0" y="40128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he problem i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86FDBE-4A5E-6240-8794-8C05A5D13509}"/>
              </a:ext>
            </a:extLst>
          </p:cNvPr>
          <p:cNvSpPr txBox="1">
            <a:spLocks/>
          </p:cNvSpPr>
          <p:nvPr/>
        </p:nvSpPr>
        <p:spPr>
          <a:xfrm>
            <a:off x="431434" y="559498"/>
            <a:ext cx="11278488" cy="5683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he challenge now is…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8DE271-6DE3-3B41-852E-2CE9842A3167}"/>
              </a:ext>
            </a:extLst>
          </p:cNvPr>
          <p:cNvSpPr/>
          <p:nvPr/>
        </p:nvSpPr>
        <p:spPr>
          <a:xfrm>
            <a:off x="593766" y="2256319"/>
            <a:ext cx="961902" cy="29694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A0460E36-D24A-1946-94E6-B42D43587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3</a:t>
            </a:fld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A073C6A-97B6-D54D-A6D7-168F33EF41D0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E3D688-61F4-D84B-848A-1DEFC48442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30B7940-CBFC-C64A-8A61-06956152BD5B}"/>
              </a:ext>
            </a:extLst>
          </p:cNvPr>
          <p:cNvSpPr/>
          <p:nvPr/>
        </p:nvSpPr>
        <p:spPr>
          <a:xfrm>
            <a:off x="475451" y="3475495"/>
            <a:ext cx="5643479" cy="19252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ing a classification model to predict hotel booking cancellations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age historical booking data to classify bookings as “Canceled” and “Not Canceled”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 managers to allocate resources more effectively and reduce potential revenue loss due to cancella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1D5DC2-493E-E78D-5E4C-6CD8DE63F86B}"/>
              </a:ext>
            </a:extLst>
          </p:cNvPr>
          <p:cNvSpPr/>
          <p:nvPr/>
        </p:nvSpPr>
        <p:spPr>
          <a:xfrm>
            <a:off x="475450" y="1668016"/>
            <a:ext cx="5549299" cy="19252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ity industry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s significant revenue loss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 inefficiency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to booking cancellations (</a:t>
            </a:r>
            <a:r>
              <a:rPr lang="en-US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%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ng cancellations in advance allows for proactive mitigation of negative impacts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itional methods (e.g., historical data analysis) are labor intensive and often unreliable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4977BC3-2116-C345-A0BE-24B9629C19EA}"/>
              </a:ext>
            </a:extLst>
          </p:cNvPr>
          <p:cNvSpPr/>
          <p:nvPr/>
        </p:nvSpPr>
        <p:spPr>
          <a:xfrm>
            <a:off x="6240217" y="1252433"/>
            <a:ext cx="5476332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 metric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F60F10-AEF5-F04D-B80D-65C39F43B16F}"/>
              </a:ext>
            </a:extLst>
          </p:cNvPr>
          <p:cNvSpPr/>
          <p:nvPr/>
        </p:nvSpPr>
        <p:spPr>
          <a:xfrm>
            <a:off x="6195603" y="1753739"/>
            <a:ext cx="5444274" cy="197686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I error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rectly identifying a booking as canceled can lead to unnecessary compensation for room upgrades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financial impacts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loss per false positive: $10 to $67.5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monthly loss for 100 errors: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,000 to $6,75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BD3680-4CB1-7546-A859-64011582FA47}"/>
              </a:ext>
            </a:extLst>
          </p:cNvPr>
          <p:cNvSpPr/>
          <p:nvPr/>
        </p:nvSpPr>
        <p:spPr>
          <a:xfrm>
            <a:off x="6240218" y="3389392"/>
            <a:ext cx="5444274" cy="14799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II error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rectly predicting a cancellations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financial impacts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loss per false negative: $99 per night</a:t>
            </a:r>
          </a:p>
          <a:p>
            <a:pPr marL="1030287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monthly loss for 100 errors: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9,90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44E8B2E-4E8D-5B4E-A644-354E433BE485}"/>
              </a:ext>
            </a:extLst>
          </p:cNvPr>
          <p:cNvSpPr/>
          <p:nvPr/>
        </p:nvSpPr>
        <p:spPr>
          <a:xfrm>
            <a:off x="6240218" y="4786910"/>
            <a:ext cx="5469704" cy="14799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ric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ly focus on mitigating the impact of false negatives (Type II errors) due to higher financial risk.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emphasis on recall to reduce Type II errors) will be used to evaluate the model’s performance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E49BFF9-E4D9-D349-9EE4-F464F4E871CC}"/>
              </a:ext>
            </a:extLst>
          </p:cNvPr>
          <p:cNvSpPr/>
          <p:nvPr/>
        </p:nvSpPr>
        <p:spPr>
          <a:xfrm>
            <a:off x="431434" y="5315699"/>
            <a:ext cx="5643479" cy="90730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 marL="287337"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tic approach</a:t>
            </a:r>
          </a:p>
          <a:p>
            <a:pPr marL="57308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a predictive model to assist the hotel in forecasting the likelihood of booking cancellations</a:t>
            </a:r>
          </a:p>
        </p:txBody>
      </p:sp>
    </p:spTree>
    <p:extLst>
      <p:ext uri="{BB962C8B-B14F-4D97-AF65-F5344CB8AC3E}">
        <p14:creationId xmlns:p14="http://schemas.microsoft.com/office/powerpoint/2010/main" val="2455532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310863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310228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10197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10133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resul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289308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289244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4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363581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363517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3ECBED-2C39-3E4B-912D-CA0387CF0CB0}"/>
              </a:ext>
            </a:extLst>
          </p:cNvPr>
          <p:cNvSpPr/>
          <p:nvPr/>
        </p:nvSpPr>
        <p:spPr>
          <a:xfrm>
            <a:off x="1051420" y="442692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9BF8B1-9F14-064B-B33D-A60ED9683D27}"/>
              </a:ext>
            </a:extLst>
          </p:cNvPr>
          <p:cNvSpPr/>
          <p:nvPr/>
        </p:nvSpPr>
        <p:spPr>
          <a:xfrm>
            <a:off x="1672485" y="442628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23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BAC5FE-4BE9-F046-A4B9-6C11D63EE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BAC5FE-4BE9-F046-A4B9-6C11D63EE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Rectangle 122">
            <a:extLst>
              <a:ext uri="{FF2B5EF4-FFF2-40B4-BE49-F238E27FC236}">
                <a16:creationId xmlns:a16="http://schemas.microsoft.com/office/drawing/2014/main" id="{A6D3EEB2-B5C5-A541-9FB0-9D1D36DF4A52}"/>
              </a:ext>
            </a:extLst>
          </p:cNvPr>
          <p:cNvSpPr/>
          <p:nvPr/>
        </p:nvSpPr>
        <p:spPr>
          <a:xfrm>
            <a:off x="532677" y="165425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1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6477A94B-4FD6-C24B-A256-0176BC4686C2}"/>
              </a:ext>
            </a:extLst>
          </p:cNvPr>
          <p:cNvSpPr/>
          <p:nvPr/>
        </p:nvSpPr>
        <p:spPr>
          <a:xfrm>
            <a:off x="532677" y="205736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2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C21E740-B814-3F4F-A928-DE367D993227}"/>
              </a:ext>
            </a:extLst>
          </p:cNvPr>
          <p:cNvSpPr/>
          <p:nvPr/>
        </p:nvSpPr>
        <p:spPr>
          <a:xfrm>
            <a:off x="532677" y="246046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3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84C4BFD-F8F5-B644-BC4C-EEE5D195C9B0}"/>
              </a:ext>
            </a:extLst>
          </p:cNvPr>
          <p:cNvSpPr/>
          <p:nvPr/>
        </p:nvSpPr>
        <p:spPr>
          <a:xfrm>
            <a:off x="532677" y="286357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1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3316B7A-55A3-4B47-94D7-F3B6B80B05DB}"/>
              </a:ext>
            </a:extLst>
          </p:cNvPr>
          <p:cNvSpPr/>
          <p:nvPr/>
        </p:nvSpPr>
        <p:spPr>
          <a:xfrm>
            <a:off x="532677" y="326667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4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6993DB8D-E163-104E-8189-318C7ACCE504}"/>
              </a:ext>
            </a:extLst>
          </p:cNvPr>
          <p:cNvSpPr/>
          <p:nvPr/>
        </p:nvSpPr>
        <p:spPr>
          <a:xfrm>
            <a:off x="532677" y="366978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5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B0535B83-2EE2-5A43-B19E-E94D11DD1508}"/>
              </a:ext>
            </a:extLst>
          </p:cNvPr>
          <p:cNvSpPr/>
          <p:nvPr/>
        </p:nvSpPr>
        <p:spPr>
          <a:xfrm>
            <a:off x="532677" y="407288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6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7791903-0EC0-6746-9CDF-71B2319F9D4F}"/>
              </a:ext>
            </a:extLst>
          </p:cNvPr>
          <p:cNvSpPr/>
          <p:nvPr/>
        </p:nvSpPr>
        <p:spPr>
          <a:xfrm>
            <a:off x="532677" y="447599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2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7DC4244-E526-5342-9CC1-047DA981046F}"/>
              </a:ext>
            </a:extLst>
          </p:cNvPr>
          <p:cNvSpPr/>
          <p:nvPr/>
        </p:nvSpPr>
        <p:spPr>
          <a:xfrm>
            <a:off x="532677" y="4879098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7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9B6D66F-6C79-304F-962B-D1CE2BCAC407}"/>
              </a:ext>
            </a:extLst>
          </p:cNvPr>
          <p:cNvSpPr/>
          <p:nvPr/>
        </p:nvSpPr>
        <p:spPr>
          <a:xfrm>
            <a:off x="532677" y="5282203"/>
            <a:ext cx="1357499" cy="319307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3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45B22365-DC42-AF4E-8CF8-3B7E0D55595F}"/>
              </a:ext>
            </a:extLst>
          </p:cNvPr>
          <p:cNvSpPr/>
          <p:nvPr/>
        </p:nvSpPr>
        <p:spPr>
          <a:xfrm>
            <a:off x="2070647" y="165425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es on basic setup (categorical encodings only)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AEAA2B6-C048-964C-B88C-B841BBA3851C}"/>
              </a:ext>
            </a:extLst>
          </p:cNvPr>
          <p:cNvSpPr/>
          <p:nvPr/>
        </p:nvSpPr>
        <p:spPr>
          <a:xfrm>
            <a:off x="2070647" y="205736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etup + robust scaling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555725DA-4DA2-EE40-9A82-EA9DEAE9358D}"/>
              </a:ext>
            </a:extLst>
          </p:cNvPr>
          <p:cNvSpPr/>
          <p:nvPr/>
        </p:nvSpPr>
        <p:spPr>
          <a:xfrm>
            <a:off x="2070647" y="246046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etup + equal frequency binning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E7ADE7D4-36E3-3748-A929-B7297C808CAE}"/>
              </a:ext>
            </a:extLst>
          </p:cNvPr>
          <p:cNvSpPr/>
          <p:nvPr/>
        </p:nvSpPr>
        <p:spPr>
          <a:xfrm>
            <a:off x="2070647" y="286357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Experiment 1 – 3 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52CF005A-C1E0-074D-BCCE-2007EEA601A7}"/>
              </a:ext>
            </a:extLst>
          </p:cNvPr>
          <p:cNvSpPr/>
          <p:nvPr/>
        </p:nvSpPr>
        <p:spPr>
          <a:xfrm>
            <a:off x="2070647" y="326667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1 + polynomial features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6F20F4F-FC28-CD43-970C-918EEF5F9D17}"/>
              </a:ext>
            </a:extLst>
          </p:cNvPr>
          <p:cNvSpPr/>
          <p:nvPr/>
        </p:nvSpPr>
        <p:spPr>
          <a:xfrm>
            <a:off x="2070647" y="366978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1 + NearMiss v3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D722B6E-6535-FD48-83E3-EC4804CE1F48}"/>
              </a:ext>
            </a:extLst>
          </p:cNvPr>
          <p:cNvSpPr/>
          <p:nvPr/>
        </p:nvSpPr>
        <p:spPr>
          <a:xfrm>
            <a:off x="2070647" y="407288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2 + SMOTE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FDC99A35-5279-AE40-9FC9-E8B911AE6BB6}"/>
              </a:ext>
            </a:extLst>
          </p:cNvPr>
          <p:cNvSpPr/>
          <p:nvPr/>
        </p:nvSpPr>
        <p:spPr>
          <a:xfrm>
            <a:off x="2070647" y="4475993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Experiment 4 – 6  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F4479E09-925E-AB4A-92A4-BF81088FBDBE}"/>
              </a:ext>
            </a:extLst>
          </p:cNvPr>
          <p:cNvSpPr/>
          <p:nvPr/>
        </p:nvSpPr>
        <p:spPr>
          <a:xfrm>
            <a:off x="2070647" y="4879098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ended model based on Evaluation 2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1BAA9F9-59ED-F345-979E-AA175E418B4E}"/>
              </a:ext>
            </a:extLst>
          </p:cNvPr>
          <p:cNvGrpSpPr/>
          <p:nvPr/>
        </p:nvGrpSpPr>
        <p:grpSpPr>
          <a:xfrm>
            <a:off x="532678" y="2003888"/>
            <a:ext cx="6032598" cy="3236415"/>
            <a:chOff x="570777" y="2427489"/>
            <a:chExt cx="9578971" cy="3236415"/>
          </a:xfrm>
        </p:grpSpPr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9FE794C2-5682-1D4E-B69D-3A16B5295EC4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242748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50C6B497-3AB1-994D-87F7-4D10F743139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283059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5346D317-23A2-B545-BC46-2E16D1767DBB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324527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09E72430-36D3-3F42-B1C8-330C53A5F462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364837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41661DCA-1CEE-6F43-8F97-8866F21F37B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05148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C1AC4544-E1F8-4B4C-8DF6-E78B672E121E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45458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C36EFA19-0DB4-3D47-B506-6C73A77362FA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485769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508500A6-14F2-0A4B-99E7-E385D5E0C3A2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5260799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AA0A8EDA-2944-F64C-986A-BBD726BA15A7}"/>
                </a:ext>
              </a:extLst>
            </p:cNvPr>
            <p:cNvCxnSpPr>
              <a:cxnSpLocks/>
            </p:cNvCxnSpPr>
            <p:nvPr/>
          </p:nvCxnSpPr>
          <p:spPr>
            <a:xfrm>
              <a:off x="570777" y="5663904"/>
              <a:ext cx="9578971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EF1CAEF3-867C-DC4A-9BC7-ABA030C86353}"/>
              </a:ext>
            </a:extLst>
          </p:cNvPr>
          <p:cNvGrpSpPr/>
          <p:nvPr/>
        </p:nvGrpSpPr>
        <p:grpSpPr>
          <a:xfrm>
            <a:off x="456477" y="1130596"/>
            <a:ext cx="1428618" cy="390875"/>
            <a:chOff x="2041269" y="1624719"/>
            <a:chExt cx="4744966" cy="390875"/>
          </a:xfrm>
        </p:grpSpPr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FA39ABE0-652F-7F40-B651-A8E53AA25647}"/>
                </a:ext>
              </a:extLst>
            </p:cNvPr>
            <p:cNvSpPr/>
            <p:nvPr/>
          </p:nvSpPr>
          <p:spPr>
            <a:xfrm>
              <a:off x="2041269" y="1624719"/>
              <a:ext cx="4508754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Name</a:t>
              </a:r>
            </a:p>
          </p:txBody>
        </p: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5BBD63E-CA1A-1449-96B3-87499DA735B2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82ED457-B5C6-1049-B598-BE2B8BA6F0E4}"/>
              </a:ext>
            </a:extLst>
          </p:cNvPr>
          <p:cNvCxnSpPr>
            <a:cxnSpLocks/>
          </p:cNvCxnSpPr>
          <p:nvPr/>
        </p:nvCxnSpPr>
        <p:spPr>
          <a:xfrm>
            <a:off x="515031" y="5634003"/>
            <a:ext cx="6066745" cy="0"/>
          </a:xfrm>
          <a:prstGeom prst="line">
            <a:avLst/>
          </a:prstGeom>
          <a:ln w="158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88106F63-CE49-144E-9572-B382000C0384}"/>
              </a:ext>
            </a:extLst>
          </p:cNvPr>
          <p:cNvSpPr/>
          <p:nvPr/>
        </p:nvSpPr>
        <p:spPr>
          <a:xfrm>
            <a:off x="2070647" y="5257437"/>
            <a:ext cx="4367628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ng best model vs blended mode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13EB67B-C3E5-1B43-B902-6615259C4792}"/>
              </a:ext>
            </a:extLst>
          </p:cNvPr>
          <p:cNvSpPr/>
          <p:nvPr/>
        </p:nvSpPr>
        <p:spPr>
          <a:xfrm>
            <a:off x="532677" y="5691263"/>
            <a:ext cx="1357499" cy="31930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8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EEFBDB1-0203-234D-AC03-E4C64D3045F2}"/>
              </a:ext>
            </a:extLst>
          </p:cNvPr>
          <p:cNvSpPr/>
          <p:nvPr/>
        </p:nvSpPr>
        <p:spPr>
          <a:xfrm>
            <a:off x="2070646" y="5691897"/>
            <a:ext cx="4609553" cy="31930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result 3 + NearMiss v3 (standalone model only)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821DBEF-A20F-FF4C-A8F0-535DE41CDB02}"/>
              </a:ext>
            </a:extLst>
          </p:cNvPr>
          <p:cNvCxnSpPr>
            <a:cxnSpLocks/>
          </p:cNvCxnSpPr>
          <p:nvPr/>
        </p:nvCxnSpPr>
        <p:spPr>
          <a:xfrm flipV="1">
            <a:off x="515031" y="6044558"/>
            <a:ext cx="6066745" cy="35608"/>
          </a:xfrm>
          <a:prstGeom prst="line">
            <a:avLst/>
          </a:prstGeom>
          <a:ln w="158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81">
            <a:extLst>
              <a:ext uri="{FF2B5EF4-FFF2-40B4-BE49-F238E27FC236}">
                <a16:creationId xmlns:a16="http://schemas.microsoft.com/office/drawing/2014/main" id="{DE864CA5-92BC-5D45-A171-F9256D95485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802" t="27263" r="19964" b="7703"/>
          <a:stretch/>
        </p:blipFill>
        <p:spPr>
          <a:xfrm>
            <a:off x="6811859" y="1574625"/>
            <a:ext cx="5070564" cy="4698464"/>
          </a:xfrm>
          <a:prstGeom prst="rect">
            <a:avLst/>
          </a:prstGeom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41274172-1930-E74E-8714-FF81D94990F6}"/>
              </a:ext>
            </a:extLst>
          </p:cNvPr>
          <p:cNvGrpSpPr/>
          <p:nvPr/>
        </p:nvGrpSpPr>
        <p:grpSpPr>
          <a:xfrm>
            <a:off x="2172970" y="1126491"/>
            <a:ext cx="4408806" cy="390875"/>
            <a:chOff x="2294355" y="1624719"/>
            <a:chExt cx="4508755" cy="390875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A806FBCF-8CCA-3E44-BE8A-5C41D6851734}"/>
                </a:ext>
              </a:extLst>
            </p:cNvPr>
            <p:cNvSpPr/>
            <p:nvPr/>
          </p:nvSpPr>
          <p:spPr>
            <a:xfrm>
              <a:off x="2294355" y="1624719"/>
              <a:ext cx="4508755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etup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6EF7EA2-B731-4346-BD0D-1962A9D655DB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D3657EE-1DF4-E346-BE89-0A63F651F5F8}"/>
              </a:ext>
            </a:extLst>
          </p:cNvPr>
          <p:cNvGrpSpPr/>
          <p:nvPr/>
        </p:nvGrpSpPr>
        <p:grpSpPr>
          <a:xfrm>
            <a:off x="7058443" y="1126491"/>
            <a:ext cx="4408806" cy="390875"/>
            <a:chOff x="2294355" y="1624719"/>
            <a:chExt cx="4508755" cy="390875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7E770B56-E7B8-B64C-9F24-FD8B54FC8B12}"/>
                </a:ext>
              </a:extLst>
            </p:cNvPr>
            <p:cNvSpPr/>
            <p:nvPr/>
          </p:nvSpPr>
          <p:spPr>
            <a:xfrm>
              <a:off x="2294355" y="1624719"/>
              <a:ext cx="4508755" cy="333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buClr>
                  <a:schemeClr val="accent1"/>
                </a:buClr>
              </a:pP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Experiment flow</a:t>
              </a: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911E3E8B-24AD-FA4C-B4EA-7C4CF3CA6BB2}"/>
                </a:ext>
              </a:extLst>
            </p:cNvPr>
            <p:cNvCxnSpPr>
              <a:cxnSpLocks/>
            </p:cNvCxnSpPr>
            <p:nvPr/>
          </p:nvCxnSpPr>
          <p:spPr>
            <a:xfrm>
              <a:off x="2294355" y="2015594"/>
              <a:ext cx="449188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Title 1">
            <a:extLst>
              <a:ext uri="{FF2B5EF4-FFF2-40B4-BE49-F238E27FC236}">
                <a16:creationId xmlns:a16="http://schemas.microsoft.com/office/drawing/2014/main" id="{7468E617-69B8-3349-8E49-F02495789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848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Experiment design: Experiment flow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3B4B952-1034-7145-848F-D7F350E5B667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EED1289A-ED4A-0A4E-903F-B72EA63695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88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310863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310228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10197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101337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resul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289308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289244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6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363581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363517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3ECBED-2C39-3E4B-912D-CA0387CF0CB0}"/>
              </a:ext>
            </a:extLst>
          </p:cNvPr>
          <p:cNvSpPr/>
          <p:nvPr/>
        </p:nvSpPr>
        <p:spPr>
          <a:xfrm>
            <a:off x="1051420" y="442692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9BF8B1-9F14-064B-B33D-A60ED9683D27}"/>
              </a:ext>
            </a:extLst>
          </p:cNvPr>
          <p:cNvSpPr/>
          <p:nvPr/>
        </p:nvSpPr>
        <p:spPr>
          <a:xfrm>
            <a:off x="1672485" y="442628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420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43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Naïve Bayes is the best performing mod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AB58BF9-5934-F146-ADB9-B24D81F7175D}"/>
              </a:ext>
            </a:extLst>
          </p:cNvPr>
          <p:cNvSpPr/>
          <p:nvPr/>
        </p:nvSpPr>
        <p:spPr>
          <a:xfrm>
            <a:off x="455892" y="1513840"/>
            <a:ext cx="6940351" cy="46736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4" y="1501775"/>
            <a:ext cx="6941659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ïve Bayes algorithm performed the best across experiments (based on </a:t>
            </a:r>
            <a:r>
              <a:rPr lang="en-US" sz="14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530616" y="1501140"/>
            <a:ext cx="420245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603854" y="2088387"/>
            <a:ext cx="4106067" cy="392595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ïve Bayes appears to be a strong baseline across all experiments. It performs well (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above 0.69) in 6 experiments with the best performance at 0.7186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emble method with soft voting achieves an </a:t>
            </a: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 of 0.7084 which is slightly lower than the best model (0.7186)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the best model among the 7th experiments remains Naïve Bayes with no specific treatments on class imbalance issue, another experiment (Experiment 8) was setup, and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ve the highest </a:t>
            </a:r>
            <a:r>
              <a:rPr lang="en-US" sz="1400" b="1" i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2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.7267).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D9D0CBE2-64C0-D946-A876-F195D73F6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7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85AACF-B422-FC4D-8726-E88EADF12384}"/>
              </a:ext>
            </a:extLst>
          </p:cNvPr>
          <p:cNvSpPr/>
          <p:nvPr/>
        </p:nvSpPr>
        <p:spPr>
          <a:xfrm>
            <a:off x="795867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CCB0A7-11D1-8143-968E-06C70DBB829B}"/>
              </a:ext>
            </a:extLst>
          </p:cNvPr>
          <p:cNvSpPr/>
          <p:nvPr/>
        </p:nvSpPr>
        <p:spPr>
          <a:xfrm>
            <a:off x="1457297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7A97E33-ED4E-9742-9798-C5EF23EBB39C}"/>
              </a:ext>
            </a:extLst>
          </p:cNvPr>
          <p:cNvSpPr/>
          <p:nvPr/>
        </p:nvSpPr>
        <p:spPr>
          <a:xfrm>
            <a:off x="2162092" y="2565400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112FDF-A5BB-5E4C-A969-39C5904778F3}"/>
              </a:ext>
            </a:extLst>
          </p:cNvPr>
          <p:cNvSpPr/>
          <p:nvPr/>
        </p:nvSpPr>
        <p:spPr>
          <a:xfrm>
            <a:off x="2824490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3F3C58-0415-7340-8D19-7305D32553DF}"/>
              </a:ext>
            </a:extLst>
          </p:cNvPr>
          <p:cNvSpPr/>
          <p:nvPr/>
        </p:nvSpPr>
        <p:spPr>
          <a:xfrm>
            <a:off x="3530315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6AE24C-55EA-EF4E-B7D7-B0BC43F5C5B4}"/>
              </a:ext>
            </a:extLst>
          </p:cNvPr>
          <p:cNvSpPr/>
          <p:nvPr/>
        </p:nvSpPr>
        <p:spPr>
          <a:xfrm>
            <a:off x="4208679" y="2565399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F7B4C8-1A09-6F4D-B212-604951631080}"/>
              </a:ext>
            </a:extLst>
          </p:cNvPr>
          <p:cNvSpPr/>
          <p:nvPr/>
        </p:nvSpPr>
        <p:spPr>
          <a:xfrm>
            <a:off x="5059691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956AB26-059C-5C4A-A0B0-6514ED3D425F}"/>
              </a:ext>
            </a:extLst>
          </p:cNvPr>
          <p:cNvSpPr/>
          <p:nvPr/>
        </p:nvSpPr>
        <p:spPr>
          <a:xfrm>
            <a:off x="5897767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A49B4DE-AF3A-1F42-97CF-D1F5D25401DC}"/>
              </a:ext>
            </a:extLst>
          </p:cNvPr>
          <p:cNvSpPr/>
          <p:nvPr/>
        </p:nvSpPr>
        <p:spPr>
          <a:xfrm>
            <a:off x="6735843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68E9AB-E386-0A48-9FC5-EF961576C43F}"/>
              </a:ext>
            </a:extLst>
          </p:cNvPr>
          <p:cNvSpPr/>
          <p:nvPr/>
        </p:nvSpPr>
        <p:spPr>
          <a:xfrm>
            <a:off x="7567392" y="2565398"/>
            <a:ext cx="660400" cy="34489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B3325B-5BE8-5747-8607-4E6DFED81D87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DF247BF3-35EE-1343-9627-81DE3FE49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6E7E34F-AE00-C643-8DEF-8C41DBE3CB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727" t="28354" r="21636" b="9764"/>
          <a:stretch/>
        </p:blipFill>
        <p:spPr>
          <a:xfrm>
            <a:off x="1040953" y="1987871"/>
            <a:ext cx="5549299" cy="460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45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/>
              <a:t>Out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1051420" y="1310863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solidFill>
                  <a:schemeClr val="bg1">
                    <a:lumMod val="65000"/>
                  </a:schemeClr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1672485" y="1310228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desig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FB68D62-CFFC-2A40-B6D9-AB78E4D28A85}"/>
              </a:ext>
            </a:extLst>
          </p:cNvPr>
          <p:cNvSpPr/>
          <p:nvPr/>
        </p:nvSpPr>
        <p:spPr>
          <a:xfrm>
            <a:off x="1051420" y="210197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D7EEFF1-E6CE-A84B-B6A4-DD188851353D}"/>
              </a:ext>
            </a:extLst>
          </p:cNvPr>
          <p:cNvSpPr/>
          <p:nvPr/>
        </p:nvSpPr>
        <p:spPr>
          <a:xfrm>
            <a:off x="1672485" y="210133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 resul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5084A05-7B89-AE4A-8DA2-922AC90E86DF}"/>
              </a:ext>
            </a:extLst>
          </p:cNvPr>
          <p:cNvSpPr/>
          <p:nvPr/>
        </p:nvSpPr>
        <p:spPr>
          <a:xfrm>
            <a:off x="1051420" y="289308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2242493-DFCC-4346-94B5-A5BC8BCE8773}"/>
              </a:ext>
            </a:extLst>
          </p:cNvPr>
          <p:cNvSpPr/>
          <p:nvPr/>
        </p:nvSpPr>
        <p:spPr>
          <a:xfrm>
            <a:off x="1672485" y="2892446"/>
            <a:ext cx="9212295" cy="56832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valuation: How good the model works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C8DA6336-0887-A946-AAC3-582A77B4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4C5F-AC8F-AB45-98CD-0DC496F3921E}" type="slidenum">
              <a:rPr lang="en-US" smtClean="0"/>
              <a:t>8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FCD31-0C7E-9144-98AC-0703EB00A7A9}"/>
              </a:ext>
            </a:extLst>
          </p:cNvPr>
          <p:cNvSpPr/>
          <p:nvPr/>
        </p:nvSpPr>
        <p:spPr>
          <a:xfrm>
            <a:off x="1051420" y="3635812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4</a:t>
            </a:r>
            <a:endParaRPr lang="en-US" sz="48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2685E6-10D2-C345-ABDC-2913C5791F5B}"/>
              </a:ext>
            </a:extLst>
          </p:cNvPr>
          <p:cNvSpPr/>
          <p:nvPr/>
        </p:nvSpPr>
        <p:spPr>
          <a:xfrm>
            <a:off x="1672485" y="3635177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model’s explanation: How the best model wor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3ECBED-2C39-3E4B-912D-CA0387CF0CB0}"/>
              </a:ext>
            </a:extLst>
          </p:cNvPr>
          <p:cNvSpPr/>
          <p:nvPr/>
        </p:nvSpPr>
        <p:spPr>
          <a:xfrm>
            <a:off x="1051420" y="4426921"/>
            <a:ext cx="523316" cy="56657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chemeClr val="bg1">
                    <a:lumMod val="65000"/>
                  </a:schemeClr>
                </a:solidFill>
              </a:rPr>
              <a:t>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9BF8B1-9F14-064B-B33D-A60ED9683D27}"/>
              </a:ext>
            </a:extLst>
          </p:cNvPr>
          <p:cNvSpPr/>
          <p:nvPr/>
        </p:nvSpPr>
        <p:spPr>
          <a:xfrm>
            <a:off x="1672485" y="4426286"/>
            <a:ext cx="9212295" cy="56832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and recomme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43F99F-1353-A94B-A769-08F74D4B6D48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EC0A974-3B23-A349-87CF-44BD611CF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775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EF750-22C4-D740-AD58-3FC36618E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584" y="559498"/>
            <a:ext cx="11278488" cy="568325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OC-AUC plo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7AFB44-AE89-6F4B-B4C9-0D16E617D77D}"/>
              </a:ext>
            </a:extLst>
          </p:cNvPr>
          <p:cNvSpPr/>
          <p:nvPr/>
        </p:nvSpPr>
        <p:spPr>
          <a:xfrm>
            <a:off x="454585" y="1501775"/>
            <a:ext cx="7140015" cy="40005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 model is good at both predicting cancellations and non-cancella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4BD5E-FC98-CA44-9E21-B618B051BD9C}"/>
              </a:ext>
            </a:extLst>
          </p:cNvPr>
          <p:cNvSpPr/>
          <p:nvPr/>
        </p:nvSpPr>
        <p:spPr>
          <a:xfrm>
            <a:off x="8780663" y="1513840"/>
            <a:ext cx="2952411" cy="467375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/>
          <a:lstStyle/>
          <a:p>
            <a:pPr>
              <a:lnSpc>
                <a:spcPct val="120000"/>
              </a:lnSpc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70F763-143C-404B-88E1-DD25EA89A6D8}"/>
              </a:ext>
            </a:extLst>
          </p:cNvPr>
          <p:cNvSpPr/>
          <p:nvPr/>
        </p:nvSpPr>
        <p:spPr>
          <a:xfrm>
            <a:off x="7772296" y="1501140"/>
            <a:ext cx="3960777" cy="40128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00DE6A-C954-1A43-8182-5D965F24DA6D}"/>
              </a:ext>
            </a:extLst>
          </p:cNvPr>
          <p:cNvSpPr/>
          <p:nvPr/>
        </p:nvSpPr>
        <p:spPr>
          <a:xfrm>
            <a:off x="7772296" y="1916936"/>
            <a:ext cx="3972607" cy="443941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UC for class 1 (Canceled) is 0.76, indicating the model is reasonably good at distinguishing between canceled and non-canceled bookings. Ideally, a higher AUC would improve true cancellation detection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lass 0 (Not Canceled), the AUC is 0.82, suggesting the model is quite effective at identifying non-canceled bookings. While this is less critical for reducing type II errors, it still demonstrates good performance.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icro-average AUC is 0.70, considering all classes together, and the macro-average AUC is 0.79, averaging the metric independently for each class.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hort, the model </a:t>
            </a:r>
            <a:r>
              <a:rPr lang="en-US" sz="1400" b="1" dirty="0">
                <a:solidFill>
                  <a:srgbClr val="1C3EC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s well at both classifying cancellations and non-cancellation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F5F193-73F8-FD41-8455-2D946AB4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31210-954E-1448-9CFA-7A4043D6E7E5}" type="slidenum">
              <a:rPr lang="en-US" smtClean="0"/>
              <a:t>9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6CDD2E-3333-0746-A7B3-AF8E3C639F88}"/>
              </a:ext>
            </a:extLst>
          </p:cNvPr>
          <p:cNvSpPr/>
          <p:nvPr/>
        </p:nvSpPr>
        <p:spPr>
          <a:xfrm>
            <a:off x="1034321" y="1901825"/>
            <a:ext cx="7434273" cy="8863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515422-C250-3142-8E80-C080B2FDDEE6}"/>
              </a:ext>
            </a:extLst>
          </p:cNvPr>
          <p:cNvSpPr txBox="1"/>
          <p:nvPr/>
        </p:nvSpPr>
        <p:spPr>
          <a:xfrm>
            <a:off x="10290659" y="31538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>
                <a:solidFill>
                  <a:srgbClr val="213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al Labs</a:t>
            </a:r>
            <a:endParaRPr lang="en-US" b="1" dirty="0">
              <a:solidFill>
                <a:srgbClr val="213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B318CC-6285-E843-B31A-8B643CE92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6515" y="308824"/>
            <a:ext cx="352244" cy="3522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BDCEFC-B02C-D34A-83F7-18DFE49563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2492" y="1901825"/>
            <a:ext cx="5887460" cy="4267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692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8</TotalTime>
  <Words>1674</Words>
  <Application>Microsoft Macintosh PowerPoint</Application>
  <PresentationFormat>Widescreen</PresentationFormat>
  <Paragraphs>264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Office Theme</vt:lpstr>
      <vt:lpstr>think-cell Slide</vt:lpstr>
      <vt:lpstr>Predicting Hotel Booking Cancellations to Minimize Revenue Loss due to False Negatives1</vt:lpstr>
      <vt:lpstr>Executive Summary</vt:lpstr>
      <vt:lpstr>PowerPoint Presentation</vt:lpstr>
      <vt:lpstr>Outline</vt:lpstr>
      <vt:lpstr>Experiment design: Experiment flow</vt:lpstr>
      <vt:lpstr>Outline</vt:lpstr>
      <vt:lpstr>Naïve Bayes is the best performing model</vt:lpstr>
      <vt:lpstr>Outline</vt:lpstr>
      <vt:lpstr>ROC-AUC plot</vt:lpstr>
      <vt:lpstr>Learning curve plot</vt:lpstr>
      <vt:lpstr>Performance across training vs test sets</vt:lpstr>
      <vt:lpstr>Outline</vt:lpstr>
      <vt:lpstr>How the model (Naïve Bayes model) works</vt:lpstr>
      <vt:lpstr>Permutation importance</vt:lpstr>
      <vt:lpstr>Outline</vt:lpstr>
      <vt:lpstr>Implications</vt:lpstr>
      <vt:lpstr>Conclusions and recomme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ing the Number of Review: Exploring Review Patterns in Bangkok's Airbnb Landscape</dc:title>
  <dc:creator>Adelia Januarto</dc:creator>
  <cp:lastModifiedBy>Adelia Januarto</cp:lastModifiedBy>
  <cp:revision>23</cp:revision>
  <cp:lastPrinted>2024-04-30T13:07:30Z</cp:lastPrinted>
  <dcterms:created xsi:type="dcterms:W3CDTF">2024-04-25T07:54:25Z</dcterms:created>
  <dcterms:modified xsi:type="dcterms:W3CDTF">2024-05-26T05:15:01Z</dcterms:modified>
</cp:coreProperties>
</file>